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951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247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40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353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957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7491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514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044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6117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331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135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4247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7495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30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14749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193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dirty="0" smtClean="0"/>
              <a:t>Stainless </a:t>
            </a:r>
            <a:r>
              <a:rPr lang="en-US" dirty="0"/>
              <a:t>steel for easier maintenance and cleaning</a:t>
            </a:r>
            <a:br>
              <a:rPr lang="en-US" dirty="0"/>
            </a:b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New ultraclean capper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 smtClean="0">
                <a:solidFill>
                  <a:srgbClr val="000000"/>
                </a:solidFill>
              </a:rPr>
              <a:t>Product quality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sz="800" kern="0" dirty="0" smtClean="0">
                <a:solidFill>
                  <a:srgbClr val="000000"/>
                </a:solidFill>
              </a:rPr>
              <a:t>Standard filler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HS007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347537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inless-steel components: no rus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ew cam improves capping efficiency       spring bottle bearings for improved bottle centering       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xtractors with improved hygiene and reduced foam                     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ti-vibration column reduces capper vibratio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de in stainless steel and designed for easier cleaning and maintenanc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stainless steel heads with no lubrication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pping zone completely open, facilitating cleaning the die and the head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-</a:t>
                      </a:r>
                      <a:r>
                        <a:rPr kumimoji="0" lang="en-US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ntring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vice in the upper part reduces defects from badly positioned cap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ute designed to guide the cap to the correct position inside the di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ntrifugal hopper with feed channels of an open type construction, ensuring simpler cleaning and improved flow of caps. Hopper and channel components made entirely from stainless steel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 be supplied with the pick &amp; place transfer system (cap transfer star wheel) or with the free-flow cap feeding system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12" descr="HS007a0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3717032"/>
            <a:ext cx="687388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051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172</Words>
  <Application>Microsoft Office PowerPoint</Application>
  <PresentationFormat>Affichage à l'écran (4:3)</PresentationFormat>
  <Paragraphs>18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5_Sidel Template 2013</vt:lpstr>
      <vt:lpstr>think-cell Folie</vt:lpstr>
      <vt:lpstr>Stainless steel for easier maintenance and cleaning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lifetime of pressurization valves</dc:title>
  <dc:creator>Gouriou, Lydie</dc:creator>
  <cp:lastModifiedBy>Gouriou, Lydie</cp:lastModifiedBy>
  <cp:revision>3</cp:revision>
  <dcterms:created xsi:type="dcterms:W3CDTF">2014-07-30T12:38:20Z</dcterms:created>
  <dcterms:modified xsi:type="dcterms:W3CDTF">2014-07-30T12:45:27Z</dcterms:modified>
</cp:coreProperties>
</file>